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72" r:id="rId2"/>
  </p:sldIdLst>
  <p:sldSz cx="9144000" cy="5143500" type="screen16x9"/>
  <p:notesSz cx="6858000" cy="9144000"/>
  <p:custDataLst>
    <p:tags r:id="rId5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78">
          <p15:clr>
            <a:srgbClr val="A4A3A4"/>
          </p15:clr>
        </p15:guide>
        <p15:guide id="2" orient="horz" pos="744">
          <p15:clr>
            <a:srgbClr val="A4A3A4"/>
          </p15:clr>
        </p15:guide>
        <p15:guide id="3" pos="2880">
          <p15:clr>
            <a:srgbClr val="A4A3A4"/>
          </p15:clr>
        </p15:guide>
        <p15:guide id="4" pos="271">
          <p15:clr>
            <a:srgbClr val="A4A3A4"/>
          </p15:clr>
        </p15:guide>
        <p15:guide id="5" pos="54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1F6B"/>
    <a:srgbClr val="F7472A"/>
    <a:srgbClr val="EEEE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740" autoAdjust="0"/>
    <p:restoredTop sz="94628" autoAdjust="0"/>
  </p:normalViewPr>
  <p:slideViewPr>
    <p:cSldViewPr snapToGrid="0">
      <p:cViewPr varScale="1">
        <p:scale>
          <a:sx n="114" d="100"/>
          <a:sy n="114" d="100"/>
        </p:scale>
        <p:origin x="198" y="90"/>
      </p:cViewPr>
      <p:guideLst>
        <p:guide orient="horz" pos="2878"/>
        <p:guide orient="horz" pos="744"/>
        <p:guide pos="2880"/>
        <p:guide pos="271"/>
        <p:guide pos="548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125" d="100"/>
          <a:sy n="125" d="100"/>
        </p:scale>
        <p:origin x="-2208" y="15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D3B54B-1DB4-4548-B55C-A419C7CB6B35}" type="datetimeFigureOut">
              <a:rPr lang="nl-NL" smtClean="0"/>
              <a:t>22-11-2022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66D42F-A6E9-4566-9B51-2DB85E40270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46565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9FFDD6-80DA-4732-AB62-D182E15B6E20}" type="datetimeFigureOut">
              <a:rPr lang="nl-NL" smtClean="0"/>
              <a:t>22-11-2022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57150" y="649288"/>
            <a:ext cx="6972300" cy="3922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813568" y="4714504"/>
            <a:ext cx="5230863" cy="376447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E7D123-C831-4A2D-920C-8F39C4D8C04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871596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56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223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8953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1620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jp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0.xml"/><Relationship Id="rId7" Type="http://schemas.openxmlformats.org/officeDocument/2006/relationships/oleObject" Target="../embeddings/oleObject10.bin"/><Relationship Id="rId2" Type="http://schemas.openxmlformats.org/officeDocument/2006/relationships/tags" Target="../tags/tag2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jp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33.xml"/><Relationship Id="rId7" Type="http://schemas.openxmlformats.org/officeDocument/2006/relationships/image" Target="../media/image11.jpg"/><Relationship Id="rId2" Type="http://schemas.openxmlformats.org/officeDocument/2006/relationships/tags" Target="../tags/tag32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5.xml"/><Relationship Id="rId10" Type="http://schemas.openxmlformats.org/officeDocument/2006/relationships/image" Target="../media/image13.tif"/><Relationship Id="rId4" Type="http://schemas.openxmlformats.org/officeDocument/2006/relationships/tags" Target="../tags/tag34.xml"/><Relationship Id="rId9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9.xml"/><Relationship Id="rId7" Type="http://schemas.openxmlformats.org/officeDocument/2006/relationships/oleObject" Target="../embeddings/oleObject3.bin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2.xml"/><Relationship Id="rId7" Type="http://schemas.openxmlformats.org/officeDocument/2006/relationships/oleObject" Target="../embeddings/oleObject4.bin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5.xml"/><Relationship Id="rId7" Type="http://schemas.openxmlformats.org/officeDocument/2006/relationships/oleObject" Target="../embeddings/oleObject5.bin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.xml"/><Relationship Id="rId7" Type="http://schemas.openxmlformats.org/officeDocument/2006/relationships/oleObject" Target="../embeddings/oleObject6.bin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1.xml"/><Relationship Id="rId7" Type="http://schemas.openxmlformats.org/officeDocument/2006/relationships/oleObject" Target="../embeddings/oleObject7.bin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4.xml"/><Relationship Id="rId7" Type="http://schemas.openxmlformats.org/officeDocument/2006/relationships/oleObject" Target="../embeddings/oleObject8.bin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7.xml"/><Relationship Id="rId7" Type="http://schemas.openxmlformats.org/officeDocument/2006/relationships/oleObject" Target="../embeddings/oleObject9.bin"/><Relationship Id="rId2" Type="http://schemas.openxmlformats.org/officeDocument/2006/relationships/tags" Target="../tags/tag2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jp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Provinciehuis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34475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82462" y="2714400"/>
            <a:ext cx="3546663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</p:spTree>
    <p:extLst>
      <p:ext uri="{BB962C8B-B14F-4D97-AF65-F5344CB8AC3E}">
        <p14:creationId xmlns:p14="http://schemas.microsoft.com/office/powerpoint/2010/main" val="3595500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en objec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710652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1500" y="1428750"/>
            <a:ext cx="7837488" cy="3139679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80353" y="4794084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275388" y="4794083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23404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en foto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738283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3072B6A5-EC29-4FA0-8BED-DEBB437A8F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571500" y="1308190"/>
            <a:ext cx="3546663" cy="4234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ct val="150000"/>
              </a:lnSpc>
              <a:buNone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</a:t>
            </a:r>
            <a:r>
              <a:rPr lang="nl-NL"/>
              <a:t>om tekst toe te voegen</a:t>
            </a:r>
            <a:endParaRPr lang="nl-NL" dirty="0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xmlns="" id="{0FA74722-67C2-4EA2-A61E-A56A2B2789D6}"/>
              </a:ext>
            </a:extLst>
          </p:cNvPr>
          <p:cNvSpPr>
            <a:spLocks noGrp="1"/>
          </p:cNvSpPr>
          <p:nvPr>
            <p:ph type="pic" sz="quarter" idx="10" hasCustomPrompt="1"/>
            <p:custDataLst>
              <p:tags r:id="rId4"/>
            </p:custDataLst>
          </p:nvPr>
        </p:nvSpPr>
        <p:spPr>
          <a:xfrm>
            <a:off x="5727599" y="-1"/>
            <a:ext cx="3416400" cy="51444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nl-NL" dirty="0"/>
              <a:t>Klik op het pictogram om </a:t>
            </a:r>
            <a:br>
              <a:rPr lang="nl-NL" dirty="0"/>
            </a:br>
            <a:r>
              <a:rPr lang="nl-NL" dirty="0"/>
              <a:t>een afbeelding in te voeg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74D379FD-8BD4-4811-9807-915B47569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4914900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31646578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679357" y="4807511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248494" y="4807512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59CA5524-084C-47F7-AA3A-A8A468C7215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7757" y="1992355"/>
            <a:ext cx="4141786" cy="43409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buNone/>
              <a:defRPr sz="2800" i="1">
                <a:solidFill>
                  <a:srgbClr val="281F6B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“Provinciale uitspraken”</a:t>
            </a:r>
            <a:endParaRPr lang="nl-NL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xmlns="" id="{7559AA1B-0F4A-4100-A194-0177CDBD449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916708" y="2719481"/>
            <a:ext cx="2541586" cy="24801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buNone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 ─ Dhr. V. van Achternaam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563864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en object met bal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80353" y="4794084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275388" y="4794083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8A8737B4-2FD5-4A45-987F-9128F9ACD98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1500" y="1428750"/>
            <a:ext cx="7837488" cy="3139679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51FE92D4-CAAE-4DC0-B3B6-4690BA86B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5790369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en teks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xmlns="" id="{EBB238C0-88EA-4AB1-A12F-847285A48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75388" y="4794083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12C17670-B6DA-429C-B383-715F8716A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80353" y="4794084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06455126-5ADC-47ED-94E6-E82C3650B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xmlns="" id="{93834515-0CD3-4AEE-AE16-BB1AA3748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1328739"/>
            <a:ext cx="7837488" cy="3917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361950" indent="0">
              <a:buNone/>
              <a:defRPr/>
            </a:lvl2pPr>
            <a:lvl3pPr marL="714375" indent="0">
              <a:buNone/>
              <a:defRPr/>
            </a:lvl3pPr>
            <a:lvl4pPr marL="1076325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nl-NL"/>
              <a:t>Klik om tekst in te voegen</a:t>
            </a:r>
          </a:p>
        </p:txBody>
      </p:sp>
    </p:spTree>
    <p:extLst>
      <p:ext uri="{BB962C8B-B14F-4D97-AF65-F5344CB8AC3E}">
        <p14:creationId xmlns:p14="http://schemas.microsoft.com/office/powerpoint/2010/main" val="3594728370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ee object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725177" y="4807512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6266424" y="4807512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5640AC4C-61E9-4721-9F78-2FF00A5011B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1499" y="1428750"/>
            <a:ext cx="3916800" cy="2804400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16AFF2CA-27E5-45B9-B869-BFA0ED7CEB3B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809671" y="1428750"/>
            <a:ext cx="3916800" cy="2804400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25E1462B-417B-43F8-8006-2E8D236C3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27884697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gelijk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725177" y="4807512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6266424" y="4807512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5640AC4C-61E9-4721-9F78-2FF00A5011B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1499" y="1935332"/>
            <a:ext cx="3916800" cy="2297818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16AFF2CA-27E5-45B9-B869-BFA0ED7CEB3B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809671" y="1935331"/>
            <a:ext cx="3916800" cy="2297818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05900265-61E5-48CF-A03D-0321B8BD481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571499" y="1360970"/>
            <a:ext cx="3916800" cy="461665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 om een tekst</a:t>
            </a:r>
            <a:br>
              <a:rPr lang="nl-NL" dirty="0"/>
            </a:br>
            <a:r>
              <a:rPr lang="nl-NL" dirty="0"/>
              <a:t>toe te voegen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6BED6F69-8339-4760-9BE7-47E46CBE0354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809671" y="1360970"/>
            <a:ext cx="3916800" cy="461665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 om een tekst</a:t>
            </a:r>
            <a:br>
              <a:rPr lang="nl-NL" dirty="0"/>
            </a:br>
            <a:r>
              <a:rPr lang="nl-NL" dirty="0"/>
              <a:t>toe te voegen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7B97601A-A2C5-4823-81F0-9E9AC15A1B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858398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leen tite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80353" y="4794084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329176" y="4794083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E93F1C08-4B53-4E38-9535-D52BB86266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6742685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iet invoegen (systeemdia)"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54603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3072B6A5-EC29-4FA0-8BED-DEBB437A8F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882462" y="2714400"/>
            <a:ext cx="3538800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xmlns="" id="{0FA74722-67C2-4EA2-A61E-A56A2B2789D6}"/>
              </a:ext>
            </a:extLst>
          </p:cNvPr>
          <p:cNvSpPr>
            <a:spLocks noGrp="1"/>
          </p:cNvSpPr>
          <p:nvPr>
            <p:ph type="pic" sz="quarter" idx="10" hasCustomPrompt="1"/>
            <p:custDataLst>
              <p:tags r:id="rId4"/>
            </p:custDataLst>
          </p:nvPr>
        </p:nvSpPr>
        <p:spPr>
          <a:xfrm>
            <a:off x="5727599" y="-1"/>
            <a:ext cx="3416400" cy="51444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nl-NL" dirty="0"/>
              <a:t>Klik op het pictogram om </a:t>
            </a:r>
            <a:br>
              <a:rPr lang="nl-NL" dirty="0"/>
            </a:br>
            <a:r>
              <a:rPr lang="nl-NL" dirty="0"/>
              <a:t>een afbeelding in te voeg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DE8770D6-BA0A-4BC7-98BB-F39F27455F12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882461" y="1938337"/>
            <a:ext cx="4770194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xmlns="" id="{3AAB070F-B317-4B96-B2B5-CE6D2A7BCA35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8799" y="1752300"/>
            <a:ext cx="565200" cy="33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4803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ereikbaar ZH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1654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EBCE4183-3CC1-4278-A7B6-861E50254297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071803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Concurrerend ZH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6980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8462F47E-F438-4019-B1F1-6D0737D9B6A6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861303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Gezond en Veilig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3072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33ECE84D-3D96-469C-AB47-0EC9729405FC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838216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amenwerken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9060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8D617417-A6C0-4BE7-975C-595A3277DC7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706714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chone Energie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8270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015F2F36-69B0-4EF4-ACA4-5167DDA640CE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418337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terke Steden en Dorpen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1414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BEE8E29C-CDBC-4BA0-A00E-65C8FC548138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85305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Versterken Natuur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91383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188D1807-ED12-4152-BA69-3891B0FF0C61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92977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en Cover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>
            <a:extLst>
              <a:ext uri="{FF2B5EF4-FFF2-40B4-BE49-F238E27FC236}">
                <a16:creationId xmlns:a16="http://schemas.microsoft.com/office/drawing/2014/main" xmlns="" id="{0FA74722-67C2-4EA2-A61E-A56A2B2789D6}"/>
              </a:ext>
            </a:extLst>
          </p:cNvPr>
          <p:cNvSpPr>
            <a:spLocks noGrp="1"/>
          </p:cNvSpPr>
          <p:nvPr>
            <p:ph type="pic" sz="quarter" idx="10" hasCustomPrompt="1"/>
            <p:custDataLst>
              <p:tags r:id="rId2"/>
            </p:custDataLst>
          </p:nvPr>
        </p:nvSpPr>
        <p:spPr>
          <a:xfrm>
            <a:off x="5727599" y="-1"/>
            <a:ext cx="3416400" cy="51444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nl-NL" dirty="0"/>
              <a:t>Klik op het pictogram om </a:t>
            </a:r>
            <a:br>
              <a:rPr lang="nl-NL" dirty="0"/>
            </a:br>
            <a:r>
              <a:rPr lang="nl-NL" dirty="0"/>
              <a:t>een afbeelding in te voegen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4526561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E8DCF166-39A4-4A13-85DF-E6F8B3C14FFC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36159650-3484-4E65-A421-ACC3EE4485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2462" y="1936800"/>
            <a:ext cx="4659356" cy="5832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35968552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82000" y="4795200"/>
            <a:ext cx="2895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74800" y="4795200"/>
            <a:ext cx="2133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nl-NL" sz="900" smtClean="0"/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E2C46C9D-AA03-4E57-BF9E-72B03BAB849B}"/>
              </a:ext>
            </a:extLst>
          </p:cNvPr>
          <p:cNvSpPr txBox="1">
            <a:spLocks/>
          </p:cNvSpPr>
          <p:nvPr userDrawn="1"/>
        </p:nvSpPr>
        <p:spPr>
          <a:xfrm>
            <a:off x="571500" y="1428750"/>
            <a:ext cx="7837488" cy="3139679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 kern="120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61950" indent="-18097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–"/>
              <a:defRPr sz="1600" kern="120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42925" indent="-18097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•"/>
              <a:defRPr sz="1600" kern="120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14375" indent="-171450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–"/>
              <a:defRPr sz="1600" kern="1200" baseline="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895350" indent="-18097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»"/>
              <a:defRPr sz="1600" kern="120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151063" indent="-35877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C613C4F1-36D1-45A6-AE27-272B3FF72BFB}"/>
              </a:ext>
            </a:extLst>
          </p:cNvPr>
          <p:cNvSpPr txBox="1">
            <a:spLocks/>
          </p:cNvSpPr>
          <p:nvPr userDrawn="1"/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281F6B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04661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7" r:id="rId9"/>
    <p:sldLayoutId id="2147483650" r:id="rId10"/>
    <p:sldLayoutId id="2147483673" r:id="rId11"/>
    <p:sldLayoutId id="2147483655" r:id="rId12"/>
    <p:sldLayoutId id="2147483675" r:id="rId13"/>
    <p:sldLayoutId id="2147483651" r:id="rId14"/>
    <p:sldLayoutId id="2147483652" r:id="rId15"/>
    <p:sldLayoutId id="2147483676" r:id="rId16"/>
    <p:sldLayoutId id="2147483654" r:id="rId17"/>
    <p:sldLayoutId id="2147483662" r:id="rId18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3810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242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51063" indent="-35877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tif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54B00E3C-2509-4D55-912C-6B708EBB1A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3512" y="1913890"/>
            <a:ext cx="6451788" cy="1626407"/>
          </a:xfrm>
        </p:spPr>
        <p:txBody>
          <a:bodyPr/>
          <a:lstStyle/>
          <a:p>
            <a:pPr marL="0" indent="0">
              <a:buNone/>
            </a:pPr>
            <a:endParaRPr lang="nl-NL" dirty="0"/>
          </a:p>
          <a:p>
            <a:r>
              <a:rPr lang="nl-NL" dirty="0"/>
              <a:t>Kringlooplandbouw in startnotitie: “Door bewuster om te gaan met schaarse grondstoffen en minder biomassa te verspillen, hoeven steeds minder grondstoffen van elders worden aangevoerd, zoals kunstmest.”</a:t>
            </a:r>
          </a:p>
          <a:p>
            <a:r>
              <a:rPr lang="nl-NL" dirty="0"/>
              <a:t> 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9FD2CAD8-D6AA-4A29-AD78-A60402756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512" y="1140304"/>
            <a:ext cx="8029692" cy="666700"/>
          </a:xfrm>
        </p:spPr>
        <p:txBody>
          <a:bodyPr/>
          <a:lstStyle/>
          <a:p>
            <a:r>
              <a:rPr lang="nl-NL" dirty="0"/>
              <a:t>Precisiebemesting circulaire meststoffen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xmlns="" id="{E5A615C8-2A23-4037-95DB-FB54BECE13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0911" y="1704975"/>
            <a:ext cx="573088" cy="3438525"/>
          </a:xfrm>
          <a:prstGeom prst="rect">
            <a:avLst/>
          </a:prstGeom>
        </p:spPr>
      </p:pic>
      <p:sp>
        <p:nvSpPr>
          <p:cNvPr id="6" name="Titel 3">
            <a:extLst>
              <a:ext uri="{FF2B5EF4-FFF2-40B4-BE49-F238E27FC236}">
                <a16:creationId xmlns:a16="http://schemas.microsoft.com/office/drawing/2014/main" xmlns="" id="{87D1B109-2BBA-B0AA-A29D-CC924F658B0F}"/>
              </a:ext>
            </a:extLst>
          </p:cNvPr>
          <p:cNvSpPr txBox="1">
            <a:spLocks/>
          </p:cNvSpPr>
          <p:nvPr/>
        </p:nvSpPr>
        <p:spPr>
          <a:xfrm>
            <a:off x="393512" y="4402999"/>
            <a:ext cx="8029692" cy="6667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algn="r"/>
            <a:r>
              <a:rPr lang="nl-NL" sz="1600" dirty="0">
                <a:solidFill>
                  <a:srgbClr val="281F6B"/>
                </a:solidFill>
                <a:latin typeface="Georgia" panose="02040502050405020303" pitchFamily="18" charset="0"/>
                <a:ea typeface="+mn-ea"/>
                <a:cs typeface="+mn-cs"/>
              </a:rPr>
              <a:t>Ardy</a:t>
            </a:r>
            <a:r>
              <a:rPr lang="nl-NL" sz="1800" dirty="0"/>
              <a:t> </a:t>
            </a:r>
            <a:r>
              <a:rPr lang="nl-NL" sz="1600" dirty="0">
                <a:solidFill>
                  <a:srgbClr val="281F6B"/>
                </a:solidFill>
                <a:latin typeface="Georgia" panose="02040502050405020303" pitchFamily="18" charset="0"/>
                <a:ea typeface="+mn-ea"/>
                <a:cs typeface="+mn-cs"/>
              </a:rPr>
              <a:t>Saarloos</a:t>
            </a:r>
          </a:p>
          <a:p>
            <a:pPr algn="r"/>
            <a:r>
              <a:rPr lang="nl-NL" sz="1600" dirty="0">
                <a:solidFill>
                  <a:srgbClr val="281F6B"/>
                </a:solidFill>
                <a:latin typeface="Georgia" panose="02040502050405020303" pitchFamily="18" charset="0"/>
                <a:ea typeface="+mn-ea"/>
                <a:cs typeface="+mn-cs"/>
              </a:rPr>
              <a:t>a.saarloos@pzh.nl</a:t>
            </a:r>
          </a:p>
        </p:txBody>
      </p:sp>
    </p:spTree>
    <p:extLst>
      <p:ext uri="{BB962C8B-B14F-4D97-AF65-F5344CB8AC3E}">
        <p14:creationId xmlns:p14="http://schemas.microsoft.com/office/powerpoint/2010/main" val="10740662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heme/theme1.xml><?xml version="1.0" encoding="utf-8"?>
<a:theme xmlns:a="http://schemas.openxmlformats.org/drawingml/2006/main" name="Provincie Zuid Holland 16x9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000066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ZH_16x9 - najaar 2021.potx" id="{3FF95B81-BE0F-4D3E-9AE5-BDFB966A929D}" vid="{420656F1-1384-49CA-B776-FF305A0251E8}"/>
    </a:ext>
  </a:extLst>
</a:theme>
</file>

<file path=ppt/theme/theme2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ZH 16x9</Template>
  <TotalTime>54</TotalTime>
  <Words>38</Words>
  <Application>Microsoft Office PowerPoint</Application>
  <PresentationFormat>Diavoorstelling (16:9)</PresentationFormat>
  <Paragraphs>6</Paragraphs>
  <Slides>1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</vt:i4>
      </vt:variant>
    </vt:vector>
  </HeadingPairs>
  <TitlesOfParts>
    <vt:vector size="7" baseType="lpstr">
      <vt:lpstr>Arial</vt:lpstr>
      <vt:lpstr>Calibri</vt:lpstr>
      <vt:lpstr>Georgia</vt:lpstr>
      <vt:lpstr>Wingdings</vt:lpstr>
      <vt:lpstr>Provincie Zuid Holland 16x9</vt:lpstr>
      <vt:lpstr>think-cell Slide</vt:lpstr>
      <vt:lpstr>Precisiebemesting circulaire meststoffen</vt:lpstr>
    </vt:vector>
  </TitlesOfParts>
  <Manager/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cisiebemesting circulaire meststoffen</dc:title>
  <dc:creator>Ardy Saarloos</dc:creator>
  <cp:lastModifiedBy>Herre Bartlema</cp:lastModifiedBy>
  <cp:revision>2</cp:revision>
  <dcterms:created xsi:type="dcterms:W3CDTF">2022-11-22T12:42:34Z</dcterms:created>
  <dcterms:modified xsi:type="dcterms:W3CDTF">2022-11-22T17:21:53Z</dcterms:modified>
</cp:coreProperties>
</file>